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60" r:id="rId1"/>
    <p:sldMasterId id="2147483673" r:id="rId2"/>
  </p:sldMasterIdLst>
  <p:notesMasterIdLst>
    <p:notesMasterId r:id="rId17"/>
  </p:notesMasterIdLst>
  <p:sldIdLst>
    <p:sldId id="258" r:id="rId3"/>
    <p:sldId id="302" r:id="rId4"/>
    <p:sldId id="267" r:id="rId5"/>
    <p:sldId id="268" r:id="rId6"/>
    <p:sldId id="270" r:id="rId7"/>
    <p:sldId id="298" r:id="rId8"/>
    <p:sldId id="299" r:id="rId9"/>
    <p:sldId id="274" r:id="rId10"/>
    <p:sldId id="275" r:id="rId11"/>
    <p:sldId id="287" r:id="rId12"/>
    <p:sldId id="305" r:id="rId13"/>
    <p:sldId id="306" r:id="rId14"/>
    <p:sldId id="308" r:id="rId15"/>
    <p:sldId id="307" r:id="rId16"/>
  </p:sldIdLst>
  <p:sldSz cx="12192000" cy="6858000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F6F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17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642" y="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8D9AA1-C541-4E62-87A5-3445A943688F}" type="datetimeFigureOut">
              <a:rPr lang="en-US" smtClean="0"/>
              <a:t>9/17/2024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0692BC-95CD-49EB-A80F-61093A97EB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322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0692BC-95CD-49EB-A80F-61093A97EB0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3847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705179-D54C-4DF2-9593-0CC575370DE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45166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A59978-CED7-4DB7-A16B-1B08BF5C4A0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56685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7741AA-2A09-4BB9-BF97-A1687891A61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68869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53F216-4239-4909-ACC1-9ADCA1C416C9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81434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98386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26232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69639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44568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26353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44716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25041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9FB038-8264-4283-AEC2-60FC221556B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51452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33720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9577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36653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84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2374834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39677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2190228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26791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60476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46136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E3DC23-AA3E-408A-9236-DBAB42FCE94E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12649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E357E-3CB2-45EB-B8F1-A2F73E8D5B5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39422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8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9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A76D7F-1DB5-43D0-9729-873B4208B0B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41871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2F2F2">
            <a:alpha val="50195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0F8AF6-415D-4D69-9EE0-FE9916997A2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00273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16506E-BD4C-4445-941D-C8119941169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293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983538" y="136525"/>
            <a:ext cx="4114800" cy="365125"/>
          </a:xfrm>
        </p:spPr>
        <p:txBody>
          <a:bodyPr/>
          <a:lstStyle>
            <a:lvl1pPr>
              <a:defRPr dirty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9269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91704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F75360-4826-41AB-98FC-3FD61FA4797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67769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>
            <a:alpha val="30196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think-cell data - do not delete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" name="Слайд think-cell" r:id="rId16" imgW="360" imgH="360" progId="TCLayout.ActiveDocument.1">
                  <p:embed/>
                </p:oleObj>
              </mc:Choice>
              <mc:Fallback>
                <p:oleObj name="Слайд think-cell" r:id="rId16" imgW="360" imgH="360" progId="TCLayout.ActiveDocument.1">
                  <p:embed/>
                  <p:pic>
                    <p:nvPicPr>
                      <p:cNvPr id="102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Заголовок 2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заголовка</a:t>
            </a:r>
            <a:endParaRPr lang="en-US" altLang="en-US"/>
          </a:p>
        </p:txBody>
      </p:sp>
      <p:sp>
        <p:nvSpPr>
          <p:cNvPr id="1028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текста</a:t>
            </a:r>
          </a:p>
          <a:p>
            <a:pPr lvl="1"/>
            <a:r>
              <a:rPr lang="ru-RU" altLang="en-US"/>
              <a:t>Второй уровень</a:t>
            </a:r>
          </a:p>
          <a:p>
            <a:pPr lvl="2"/>
            <a:r>
              <a:rPr lang="ru-RU" altLang="en-US"/>
              <a:t>Третий уровень</a:t>
            </a:r>
          </a:p>
          <a:p>
            <a:pPr lvl="3"/>
            <a:r>
              <a:rPr lang="ru-RU" altLang="en-US"/>
              <a:t>Четвертый уровень</a:t>
            </a:r>
          </a:p>
          <a:p>
            <a:pPr lvl="4"/>
            <a:r>
              <a:rPr lang="ru-RU" altLang="en-US"/>
              <a:t>Пятый уровень</a:t>
            </a:r>
            <a:endParaRPr lang="en-US" altLang="en-US"/>
          </a:p>
        </p:txBody>
      </p:sp>
      <p:sp>
        <p:nvSpPr>
          <p:cNvPr id="5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5192F1-E905-494F-B976-BA88E09B673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4073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79562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100000">
              <a:schemeClr val="tx1"/>
            </a:gs>
            <a:gs pos="64000">
              <a:schemeClr val="bg2">
                <a:shade val="96000"/>
                <a:satMod val="120000"/>
                <a:lumMod val="97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3898232"/>
            <a:ext cx="12192000" cy="295976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0" y="1464887"/>
            <a:ext cx="12192000" cy="231866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ru-RU" sz="4000" b="1" dirty="0" err="1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аңа</a:t>
            </a:r>
            <a:r>
              <a:rPr lang="ru-RU" sz="4000" b="1" dirty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4000" b="1" dirty="0" err="1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алық</a:t>
            </a:r>
            <a:r>
              <a:rPr lang="ru-RU" sz="4000" b="1" dirty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4000" b="1" dirty="0" err="1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дексінің</a:t>
            </a:r>
            <a:r>
              <a:rPr lang="ru-RU" sz="4000" b="1" dirty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4000" b="1" dirty="0" err="1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обасы</a:t>
            </a:r>
            <a:r>
              <a:rPr lang="ru-RU" sz="4000" b="1" dirty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4000" b="1" dirty="0" err="1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lang="ru-RU" sz="4000" b="1" dirty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4000" b="1" dirty="0" err="1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гізгі</a:t>
            </a:r>
            <a:r>
              <a:rPr lang="ru-RU" sz="4000" b="1" dirty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4000" b="1" dirty="0" err="1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ғыттар</a:t>
            </a:r>
            <a:endParaRPr lang="en-US" altLang="en-US" sz="4000" b="1" dirty="0">
              <a:solidFill>
                <a:schemeClr val="lt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0" y="6271828"/>
            <a:ext cx="12192000" cy="471488"/>
          </a:xfrm>
        </p:spPr>
        <p:txBody>
          <a:bodyPr rtlCol="0"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ru-RU" sz="1800" i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на қ., </a:t>
            </a: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4</a:t>
            </a:r>
            <a:r>
              <a:rPr lang="en-US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.</a:t>
            </a:r>
          </a:p>
        </p:txBody>
      </p:sp>
    </p:spTree>
    <p:extLst>
      <p:ext uri="{BB962C8B-B14F-4D97-AF65-F5344CB8AC3E}">
        <p14:creationId xmlns:p14="http://schemas.microsoft.com/office/powerpoint/2010/main" val="32772173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Жеке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ұлғаларға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салу 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0" y="1035401"/>
            <a:ext cx="12057517" cy="56323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маттардың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ейнетақы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ін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ТС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сату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  <a:p>
            <a:pPr marL="0" lvl="4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іне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лік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лдарына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натын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қа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дету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эффициенттерін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0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дан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0,7; 20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дан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м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0,5)</a:t>
            </a: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лік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ғының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ғарытылған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лері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каласы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0" lvl="4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ынтық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ы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450 млн.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ден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атын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жымайтын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лік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лері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endParaRPr lang="ru-RU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20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%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інде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цизбен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ымша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у</a:t>
            </a:r>
          </a:p>
          <a:p>
            <a:pPr marL="0" lvl="4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дендік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ы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75 млн.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ден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атын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обильдер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4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литр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ы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00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ден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атын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мбат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лкоголь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імі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насы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0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ден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атын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гаралар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endParaRPr lang="ru-RU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мбат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із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мелері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шу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параттары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endParaRPr lang="ru-RU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79536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9353550" y="6340348"/>
            <a:ext cx="2743200" cy="365125"/>
          </a:xfrm>
        </p:spPr>
        <p:txBody>
          <a:bodyPr/>
          <a:lstStyle/>
          <a:p>
            <a:fld id="{396D5095-2090-4F7E-ADA9-12F648693854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0" y="0"/>
            <a:ext cx="12181117" cy="59392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3F9DCBEF-A985-4F91-B054-3DEB38FA81A6}"/>
              </a:ext>
            </a:extLst>
          </p:cNvPr>
          <p:cNvSpPr txBox="1">
            <a:spLocks/>
          </p:cNvSpPr>
          <p:nvPr/>
        </p:nvSpPr>
        <p:spPr>
          <a:xfrm>
            <a:off x="0" y="29220"/>
            <a:ext cx="12181117" cy="5647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lvl="0"/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АТЫН АСР  </a:t>
            </a:r>
            <a:endParaRPr lang="en-US" sz="2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7748224"/>
              </p:ext>
            </p:extLst>
          </p:nvPr>
        </p:nvGraphicFramePr>
        <p:xfrm>
          <a:off x="42183" y="806868"/>
          <a:ext cx="12096749" cy="6009263"/>
        </p:xfrm>
        <a:graphic>
          <a:graphicData uri="http://schemas.openxmlformats.org/drawingml/2006/table">
            <a:tbl>
              <a:tblPr/>
              <a:tblGrid>
                <a:gridCol w="18894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63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316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560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879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34932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185889">
                  <a:extLst>
                    <a:ext uri="{9D8B030D-6E8A-4147-A177-3AD203B41FA5}">
                      <a16:colId xmlns:a16="http://schemas.microsoft.com/office/drawing/2014/main" val="1627706776"/>
                    </a:ext>
                  </a:extLst>
                </a:gridCol>
              </a:tblGrid>
              <a:tr h="437232"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бъект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кт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14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быс</a:t>
                      </a: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шегі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ru-RU" sz="14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ұмысшылар</a:t>
                      </a: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аны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өлшерлеме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</a:t>
                      </a:r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үрлері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73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Өзін-өзі</a:t>
                      </a: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ұмыспен</a:t>
                      </a: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амтығандарға</a:t>
                      </a: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рналған</a:t>
                      </a: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АСР</a:t>
                      </a:r>
                    </a:p>
                    <a:p>
                      <a:pPr algn="ctr" rtl="0" fontAlgn="ctr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патент, МП, ПЗ)</a:t>
                      </a:r>
                      <a:endParaRPr lang="ru-RU" sz="105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Т 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быс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ылына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080 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ЕК </a:t>
                      </a:r>
                      <a:b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млн. </a:t>
                      </a:r>
                      <a:r>
                        <a:rPr lang="ru-RU" sz="1400" b="1" i="0" u="none" strike="noStrike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ңге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ұмысшылар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оқ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% тек МЗЖ, ЖМЗЖ, ӘА, МӘМС</a:t>
                      </a:r>
                      <a:r>
                        <a:rPr lang="ru-RU" sz="1400" dirty="0">
                          <a:effectLst/>
                        </a:rPr>
                        <a:t>, </a:t>
                      </a:r>
                      <a:r>
                        <a:rPr lang="ru-RU" sz="1400" b="1" i="0" u="sng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ТС </a:t>
                      </a:r>
                      <a:r>
                        <a:rPr lang="ru-RU" sz="1400" b="1" i="0" u="sng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оқ</a:t>
                      </a:r>
                      <a:endParaRPr lang="ru-RU" sz="1400" b="1" i="0" u="sng" strike="noStrike" kern="1200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baseline="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ызмет</a:t>
                      </a: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baseline="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үрлері</a:t>
                      </a: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тек </a:t>
                      </a:r>
                      <a:r>
                        <a:rPr lang="ru-RU" sz="1400" b="1" i="0" u="none" strike="noStrike" kern="1200" baseline="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ізімге</a:t>
                      </a: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baseline="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әйкес</a:t>
                      </a:r>
                      <a:endParaRPr lang="ru-RU" sz="1400" b="1" i="0" u="none" strike="noStrike" kern="1200" baseline="0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9900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4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ңтайландырған</a:t>
                      </a: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декларация </a:t>
                      </a:r>
                      <a:r>
                        <a:rPr lang="ru-RU" sz="14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гізінде</a:t>
                      </a: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АСР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К, ЖШС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быс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ылына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00 000 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ЕК 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1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2,2 млрд. </a:t>
                      </a:r>
                      <a:r>
                        <a:rPr lang="ru-RU" sz="1400" b="0" i="1" u="none" strike="noStrike" kern="1200" baseline="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ңге</a:t>
                      </a:r>
                      <a:r>
                        <a:rPr lang="ru-RU" sz="1400" b="0" i="1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135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ың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АЕК-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е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ейінгі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ЖК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іріс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шегінде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ухгалтерлік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есепті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үргізбеу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1" u="none" strike="noStrike" kern="1200" baseline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шектеу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оқ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В2С - 4%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</a:t>
                      </a:r>
                      <a:r>
                        <a:rPr lang="ru-RU" sz="1400" b="1" i="0" u="none" strike="noStrike" kern="1200" baseline="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әслихаттардың</a:t>
                      </a: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b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%-</a:t>
                      </a:r>
                      <a:r>
                        <a:rPr lang="ru-RU" sz="1400" b="1" i="0" u="none" strike="noStrike" kern="1200" baseline="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ға</a:t>
                      </a: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baseline="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ейін</a:t>
                      </a: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baseline="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өмендету</a:t>
                      </a: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/</a:t>
                      </a:r>
                      <a:r>
                        <a:rPr lang="ru-RU" sz="1400" b="1" i="0" u="none" strike="noStrike" kern="1200" dirty="0" err="1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оғарылату</a:t>
                      </a:r>
                      <a:r>
                        <a:rPr lang="ru-RU" sz="14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baseline="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ұқығы</a:t>
                      </a: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i="0" u="none" strike="noStrike" kern="1200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dirty="0" err="1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Өндіріс</a:t>
                      </a:r>
                      <a:r>
                        <a:rPr lang="ru-RU" sz="14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үшін</a:t>
                      </a:r>
                      <a:r>
                        <a:rPr lang="ru-RU" sz="14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4%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i="0" u="none" strike="noStrike" kern="1200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% В2В - ЖБР </a:t>
                      </a:r>
                      <a:r>
                        <a:rPr lang="ru-RU" sz="1400" b="1" i="0" u="none" strike="noStrike" kern="1200" baseline="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олданатын</a:t>
                      </a: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baseline="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алық</a:t>
                      </a: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baseline="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өлеушілерге</a:t>
                      </a: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baseline="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өрсетілген</a:t>
                      </a: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baseline="0" dirty="0" err="1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уарлар</a:t>
                      </a: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400" b="1" i="0" u="none" strike="noStrike" kern="1200" baseline="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ұмыстар</a:t>
                      </a: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baseline="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baseline="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ызметтер</a:t>
                      </a: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baseline="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ойынша</a:t>
                      </a:r>
                      <a:endParaRPr lang="ru-RU" sz="1400" b="1" i="0" u="none" strike="noStrike" kern="1200" baseline="0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baseline="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ыйым</a:t>
                      </a: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алу </a:t>
                      </a:r>
                      <a:r>
                        <a:rPr lang="ru-RU" sz="1400" b="1" i="0" u="none" strike="noStrike" kern="1200" baseline="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ізімі</a:t>
                      </a: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1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sz="1400" b="0" i="1" u="none" strike="noStrike" kern="1200" baseline="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ізімге</a:t>
                      </a:r>
                      <a:r>
                        <a:rPr lang="ru-RU" sz="1400" b="0" i="1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1" u="none" strike="noStrike" kern="1200" baseline="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әйкес</a:t>
                      </a:r>
                      <a:r>
                        <a:rPr lang="ru-RU" sz="1400" b="0" i="1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слайд 2)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1" u="none" strike="noStrike" kern="1200" baseline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ru-RU" sz="1400" b="1" kern="1200" dirty="0" err="1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Өзара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kern="1200" dirty="0" err="1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айланысты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kern="1200" dirty="0" err="1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раптар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kern="1200" dirty="0" err="1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расындағы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kern="1200" dirty="0" err="1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шегерім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kern="1200" dirty="0" err="1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400" b="1" kern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kern="1200" dirty="0" err="1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шектеу</a:t>
                      </a:r>
                      <a:endParaRPr kumimoji="1" lang="en-US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1" u="none" strike="noStrike" kern="1200" baseline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688657"/>
                  </a:ext>
                </a:extLst>
              </a:tr>
              <a:tr h="160704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ШФҚ </a:t>
                      </a:r>
                      <a:r>
                        <a:rPr lang="ru-RU" sz="14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үшін</a:t>
                      </a: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АСР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ШФҚ</a:t>
                      </a: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олданыстағы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арлық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еңілдіктер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ұрынғыдай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ақталады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тек  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ЖС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лып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сталады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ШФҚ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үшін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ЖТС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үрінде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өленеді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быстан</a:t>
                      </a: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0,5% </a:t>
                      </a:r>
                    </a:p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иімсіз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айдаланылған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ерлер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ер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алығы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азалық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өлшерлеменің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40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еселенген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өлшерінде</a:t>
                      </a:r>
                      <a:endParaRPr lang="ru-RU" sz="1400" b="1" i="0" u="none" strike="noStrike" kern="1200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algn="ctr" defTabSz="914400" rtl="0" eaLnBrk="1" fontAlgn="ctr" latinLnBrk="0" hangingPunct="1"/>
                      <a:endParaRPr lang="kk-KZ" sz="1400" b="1" i="0" u="none" strike="noStrike" kern="1200" baseline="0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400" b="1" i="0" u="none" strike="noStrike" kern="1200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61423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0"/>
            <a:ext cx="12181117" cy="59392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lvl="0"/>
            <a:r>
              <a:rPr lang="ru-RU" sz="2000" b="1" dirty="0">
                <a:solidFill>
                  <a:schemeClr val="bg1"/>
                </a:solidFill>
                <a:latin typeface="Bookman Old Style" panose="02050604050505020204" pitchFamily="18" charset="0"/>
                <a:cs typeface="Arial" panose="020B0604020202020204" pitchFamily="34" charset="0"/>
              </a:rPr>
              <a:t>ОҢТАЙЛАНДЫРҒАН ДЕКЛАРАЦИЯ НЕГІЗІНДЕ АСР ЭҚЖЖ ТЫЙЫМ САЛУ ТІЗІМІ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49AC24A-AFEF-D5A4-29B6-A9688B55DF46}"/>
              </a:ext>
            </a:extLst>
          </p:cNvPr>
          <p:cNvSpPr txBox="1"/>
          <p:nvPr/>
        </p:nvSpPr>
        <p:spPr>
          <a:xfrm>
            <a:off x="0" y="593925"/>
            <a:ext cx="5962389" cy="58477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іртк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лдарының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сихотроптық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ттар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курсорлардың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мын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цизделеті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імд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терм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ұнай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імдерінің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леге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лері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нзинд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дизель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ыны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зутты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endParaRPr kumimoji="1" lang="en-US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ық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былда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нкттерінд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ықты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тереяларды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endParaRPr kumimoji="1" lang="en-US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йы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сындағы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диоактивт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риалдардың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мын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endParaRPr kumimoji="1" lang="en-US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рокер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ентінің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лық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лдалдық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endParaRPr kumimoji="1" lang="en-US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зет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endParaRPr kumimoji="1" lang="en-US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маттық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ік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трондарының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мын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endParaRPr kumimoji="1" lang="en-US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дық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у-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йнауы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здеуг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лицензия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інд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ылаты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йнауы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пағанд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 </a:t>
            </a:r>
            <a:endParaRPr kumimoji="1" lang="en-US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т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алдардың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нықтары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дықтары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на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йында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ңде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endParaRPr kumimoji="1" lang="en-US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зинг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ңберіндегі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endParaRPr kumimoji="1" lang="en-US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уд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рығы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ғ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endParaRPr kumimoji="1" lang="en-US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асының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уд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тте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намасын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әйкес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уд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рларын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аты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уд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лері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1, 2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аттағы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ционарлық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уд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лері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ндай-ақ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ардың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мағындағы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уд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ындары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уд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лері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ғамдық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мақтану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лерін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алқы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ға</a:t>
            </a:r>
            <a:r>
              <a:rPr kumimoji="1"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.</a:t>
            </a:r>
            <a:endParaRPr kumimoji="1" lang="en-US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ғын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ғын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мес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имараттар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у; </a:t>
            </a:r>
            <a:endParaRPr lang="en-US" sz="11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ғын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й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ын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у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сультациялық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ркетингтік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хгалтерлік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удит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сындағы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endParaRPr lang="en-US" sz="11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kk-KZ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қық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ділет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от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релігі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сындағы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en-US" sz="11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лдар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автомобиль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лдарының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к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міржол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лігінің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міржол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тро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kk-KZ" sz="11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9AC24A-AFEF-D5A4-29B6-A9688B55DF46}"/>
              </a:ext>
            </a:extLst>
          </p:cNvPr>
          <p:cNvSpPr txBox="1"/>
          <p:nvPr/>
        </p:nvSpPr>
        <p:spPr>
          <a:xfrm>
            <a:off x="6413326" y="593925"/>
            <a:ext cx="5639621" cy="5509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ұнай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аз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гистральдық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бырларын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у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том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еркәсіб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том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етикас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лер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әулет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сындағ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пірлер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ннельдер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у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аттағ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ционарлық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уда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лерін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у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нау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енттіктер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сиелік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ролардың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т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талл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ндерінің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терм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удас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л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алдардың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терм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удас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терм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ик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ұнай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лесп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аз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стег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ынатын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к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у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лігінің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ұнай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ңдеу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імдерін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у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т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алдардың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нықтар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дықтарын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терм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у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обильдерг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зғалтқыштардан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обильдер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іс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нцияларының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иясын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у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л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ғаздармен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уарлармен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мілелер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рокерлік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мбардтардың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lvl="0" indent="-285750"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л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ғаздар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рығындағ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lvl="0" indent="-285750">
              <a:buFont typeface="Wingdings" panose="05000000000000000000" pitchFamily="2" charset="2"/>
              <a:buChar char="v"/>
            </a:pPr>
            <a:r>
              <a:rPr lang="ru-RU" sz="11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нымен</a:t>
            </a:r>
            <a:r>
              <a:rPr lang="ru-RU" sz="11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ар</a:t>
            </a:r>
            <a:r>
              <a:rPr lang="ru-RU" sz="11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жимді</a:t>
            </a:r>
            <a:r>
              <a:rPr lang="ru-RU" sz="11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ға</a:t>
            </a:r>
            <a:r>
              <a:rPr lang="ru-RU" sz="11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қылы</a:t>
            </a:r>
            <a:r>
              <a:rPr lang="ru-RU" sz="11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мес</a:t>
            </a:r>
            <a:r>
              <a:rPr lang="ru-RU" sz="11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:</a:t>
            </a:r>
          </a:p>
          <a:p>
            <a:pPr marL="434975" lvl="0" indent="-171450">
              <a:buFont typeface="Arial" panose="020B0604020202020204" pitchFamily="34" charset="0"/>
              <a:buChar char="•"/>
            </a:pP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басқа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ЗТ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атысу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үлесі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25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пайыздан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асатын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ЗТ; </a:t>
            </a:r>
          </a:p>
          <a:p>
            <a:pPr marL="434975" lvl="0" indent="-171450">
              <a:buFont typeface="Arial" panose="020B0604020202020204" pitchFamily="34" charset="0"/>
              <a:buChar char="•"/>
            </a:pP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ұрылтайшысы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атысушысы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бір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мезгілде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АСР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олданатын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басқа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ЗТ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ұрылтайшысы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атысушысы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табылатын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ЗТ;</a:t>
            </a:r>
          </a:p>
          <a:p>
            <a:pPr marL="434975" lvl="0" indent="-171450">
              <a:buFont typeface="Arial" panose="020B0604020202020204" pitchFamily="34" charset="0"/>
              <a:buChar char="•"/>
            </a:pP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тайшысы</a:t>
            </a: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шысы</a:t>
            </a: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СР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атын</a:t>
            </a: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Т; </a:t>
            </a:r>
          </a:p>
          <a:p>
            <a:pPr marL="434975" lvl="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Р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атын</a:t>
            </a: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Т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тайшылары</a:t>
            </a: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шылары</a:t>
            </a: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латын</a:t>
            </a: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лер</a:t>
            </a: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ЖТ, ЖК) ; </a:t>
            </a:r>
          </a:p>
          <a:p>
            <a:pPr marL="434975" lvl="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Т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мдық</a:t>
            </a:r>
            <a:r>
              <a:rPr lang="ru-RU" sz="11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мшелері</a:t>
            </a:r>
            <a:endParaRPr lang="ru-RU" sz="1100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34975" indent="-171450">
              <a:buFont typeface="Arial" panose="020B0604020202020204" pitchFamily="34" charset="0"/>
              <a:buChar char="•"/>
            </a:pPr>
            <a:r>
              <a:rPr kumimoji="1"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коммерциялық</a:t>
            </a: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емес</a:t>
            </a: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ұйымдар</a:t>
            </a: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434975" indent="-171450">
              <a:buFont typeface="Arial" panose="020B0604020202020204" pitchFamily="34" charset="0"/>
              <a:buChar char="•"/>
            </a:pPr>
            <a:r>
              <a:rPr kumimoji="1"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арнайы</a:t>
            </a: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экономикалық</a:t>
            </a: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индустриялық</a:t>
            </a: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аймақтардың</a:t>
            </a: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, «Астана </a:t>
            </a:r>
            <a:r>
              <a:rPr kumimoji="1"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Хаб</a:t>
            </a: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kumimoji="1"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халықаралық</a:t>
            </a: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технологиялық</a:t>
            </a: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паркінің</a:t>
            </a: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қатысушылары</a:t>
            </a:r>
            <a:r>
              <a:rPr kumimoji="1"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lvl="0" indent="-171450">
              <a:buFont typeface="Wingdings" panose="05000000000000000000" pitchFamily="2" charset="2"/>
              <a:buChar char="v"/>
            </a:pP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ара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аптар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асындағы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дер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теу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en-US" sz="11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72581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0"/>
            <a:ext cx="12181117" cy="706170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lvl="0"/>
            <a:endParaRPr lang="ru-RU" sz="2200" b="1" dirty="0">
              <a:solidFill>
                <a:schemeClr val="bg1"/>
              </a:solidFill>
              <a:latin typeface="Bookman Old Style" panose="02050604050505020204" pitchFamily="18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5566E63-03B1-9E45-A946-2C103AF2739A}"/>
              </a:ext>
            </a:extLst>
          </p:cNvPr>
          <p:cNvSpPr/>
          <p:nvPr/>
        </p:nvSpPr>
        <p:spPr>
          <a:xfrm>
            <a:off x="334977" y="2612848"/>
            <a:ext cx="11451113" cy="13725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tabLst>
                <a:tab pos="5024438" algn="l"/>
              </a:tabLst>
            </a:pPr>
            <a:r>
              <a:rPr lang="ru-RU" sz="2200" b="1" dirty="0">
                <a:solidFill>
                  <a:schemeClr val="bg1"/>
                </a:solidFill>
                <a:latin typeface="Bookman Old Style" panose="02050604050505020204" pitchFamily="18" charset="0"/>
                <a:cs typeface="Arial" panose="020B0604020202020204" pitchFamily="34" charset="0"/>
              </a:rPr>
              <a:t>ІЛЕСПЕ ЗАҢ ЖОБАСЫ</a:t>
            </a:r>
            <a:endParaRPr lang="kk-KZ" sz="2200" b="1" dirty="0">
              <a:solidFill>
                <a:schemeClr val="bg1"/>
              </a:solidFill>
              <a:latin typeface="Bookman Old Style" panose="02050604050505020204" pitchFamily="18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юджет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дексі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керлік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дексі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дексі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д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лғалард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ке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лиалда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кілдіктерд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тік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ке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ҚРЗ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жат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таңб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ҚРЗ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мек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йымдарыны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іс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мы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тте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ҚРЗ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ғазда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рығ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ҚРЗ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рнам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ҚРЗ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ҚРЗ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хгалтерлік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тілік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ҚРЗ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сферттік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іле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ҚРЗ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ықты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ші-қон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ҚРЗ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лтт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уіпсіздіг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ҚРЗ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ңалт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ротт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ҚРЗ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ұқсатта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барламала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ҚРЗ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цин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ҚРЗ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Жеке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лғаларды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лкі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кларацияла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бі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нам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ілері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герісте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лықтырула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гіз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ҚРЗ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тереяла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лотерея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ҚРЗ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лют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тте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лют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қыла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ҚРЗ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вокатт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мег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ҚРЗ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еркәсіптік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ясат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ҚРЗ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Интернет-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рнам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нлайн-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тформала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ҚРЗ</a:t>
            </a:r>
            <a:endParaRPr lang="kk-KZ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52061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басшысының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қосымша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апсырмалары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3</a:t>
            </a:fld>
            <a:endParaRPr lang="en-US" sz="1050" dirty="0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E5566E63-03B1-9E45-A946-2C103AF2739A}"/>
              </a:ext>
            </a:extLst>
          </p:cNvPr>
          <p:cNvSpPr/>
          <p:nvPr/>
        </p:nvSpPr>
        <p:spPr>
          <a:xfrm>
            <a:off x="307118" y="4628084"/>
            <a:ext cx="9866759" cy="13725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kk-KZ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керле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ай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лард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шарлатпай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жимдері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ңтайландыр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ғыны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раланға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ерлемесі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іле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іні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імділігі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ттыр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кімшілендіруд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ландыр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зала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сіліне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ас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ту</a:t>
            </a:r>
            <a:endParaRPr lang="kk-KZ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FC7E1283-73A7-D647-B455-E42501FD53DD}"/>
              </a:ext>
            </a:extLst>
          </p:cNvPr>
          <p:cNvSpPr/>
          <p:nvPr/>
        </p:nvSpPr>
        <p:spPr>
          <a:xfrm>
            <a:off x="146375" y="1064017"/>
            <a:ext cx="87764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95350">
              <a:buClr>
                <a:srgbClr val="002060"/>
              </a:buClr>
              <a:buSzPct val="100000"/>
              <a:defRPr/>
            </a:pPr>
            <a:r>
              <a:rPr lang="ru-RU" b="1" u="sng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алық</a:t>
            </a:r>
            <a:r>
              <a:rPr lang="ru-RU" b="1" u="sng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b="1" u="sng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кодексінің</a:t>
            </a:r>
            <a:r>
              <a:rPr lang="ru-RU" b="1" u="sng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b="1" u="sng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жобасында</a:t>
            </a:r>
            <a:r>
              <a:rPr lang="ru-RU" b="1" u="sng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b="1" u="sng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көрініс</a:t>
            </a:r>
            <a:r>
              <a:rPr lang="ru-RU" b="1" u="sng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b="1" u="sng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тапты</a:t>
            </a:r>
            <a:endParaRPr lang="ru-RU" b="1" u="sng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FC7E1283-73A7-D647-B455-E42501FD53DD}"/>
              </a:ext>
            </a:extLst>
          </p:cNvPr>
          <p:cNvSpPr/>
          <p:nvPr/>
        </p:nvSpPr>
        <p:spPr>
          <a:xfrm>
            <a:off x="236910" y="4258752"/>
            <a:ext cx="87764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95350">
              <a:buClr>
                <a:srgbClr val="002060"/>
              </a:buClr>
              <a:buSzPct val="100000"/>
              <a:defRPr/>
            </a:pPr>
            <a:r>
              <a:rPr lang="ru-RU" b="1" u="sng" cap="small" dirty="0" err="1">
                <a:solidFill>
                  <a:srgbClr val="002060"/>
                </a:solidFill>
                <a:latin typeface="Arial Narrow" panose="020B0606020202030204" pitchFamily="34" charset="0"/>
                <a:ea typeface="Tahoma" panose="020B0604030504040204" pitchFamily="34" charset="0"/>
              </a:rPr>
              <a:t>Қосымша</a:t>
            </a:r>
            <a:r>
              <a:rPr lang="ru-RU" b="1" u="sng" cap="small" dirty="0">
                <a:solidFill>
                  <a:srgbClr val="002060"/>
                </a:solidFill>
                <a:latin typeface="Arial Narrow" panose="020B0606020202030204" pitchFamily="34" charset="0"/>
                <a:ea typeface="Tahoma" panose="020B0604030504040204" pitchFamily="34" charset="0"/>
              </a:rPr>
              <a:t> </a:t>
            </a:r>
            <a:r>
              <a:rPr lang="ru-RU" b="1" u="sng" cap="small" dirty="0" err="1">
                <a:solidFill>
                  <a:srgbClr val="002060"/>
                </a:solidFill>
                <a:latin typeface="Arial Narrow" panose="020B0606020202030204" pitchFamily="34" charset="0"/>
                <a:ea typeface="Tahoma" panose="020B0604030504040204" pitchFamily="34" charset="0"/>
              </a:rPr>
              <a:t>зерттеуді</a:t>
            </a:r>
            <a:r>
              <a:rPr lang="ru-RU" b="1" u="sng" cap="small" dirty="0">
                <a:solidFill>
                  <a:srgbClr val="002060"/>
                </a:solidFill>
                <a:latin typeface="Arial Narrow" panose="020B0606020202030204" pitchFamily="34" charset="0"/>
                <a:ea typeface="Tahoma" panose="020B0604030504040204" pitchFamily="34" charset="0"/>
              </a:rPr>
              <a:t> </a:t>
            </a:r>
            <a:r>
              <a:rPr lang="ru-RU" b="1" u="sng" cap="small" dirty="0" err="1">
                <a:solidFill>
                  <a:srgbClr val="002060"/>
                </a:solidFill>
                <a:latin typeface="Arial Narrow" panose="020B0606020202030204" pitchFamily="34" charset="0"/>
                <a:ea typeface="Tahoma" panose="020B0604030504040204" pitchFamily="34" charset="0"/>
              </a:rPr>
              <a:t>қажет</a:t>
            </a:r>
            <a:r>
              <a:rPr lang="ru-RU" b="1" u="sng" cap="small" dirty="0">
                <a:solidFill>
                  <a:srgbClr val="002060"/>
                </a:solidFill>
                <a:latin typeface="Arial Narrow" panose="020B0606020202030204" pitchFamily="34" charset="0"/>
                <a:ea typeface="Tahoma" panose="020B0604030504040204" pitchFamily="34" charset="0"/>
              </a:rPr>
              <a:t> </a:t>
            </a:r>
            <a:r>
              <a:rPr lang="ru-RU" b="1" u="sng" cap="small" dirty="0" err="1">
                <a:solidFill>
                  <a:srgbClr val="002060"/>
                </a:solidFill>
                <a:latin typeface="Arial Narrow" panose="020B0606020202030204" pitchFamily="34" charset="0"/>
                <a:ea typeface="Tahoma" panose="020B0604030504040204" pitchFamily="34" charset="0"/>
              </a:rPr>
              <a:t>етеді</a:t>
            </a:r>
            <a:endParaRPr lang="ru-RU" b="1" u="sng" cap="small" dirty="0">
              <a:solidFill>
                <a:srgbClr val="002060"/>
              </a:solidFill>
              <a:latin typeface="Arial Narrow" panose="020B0606020202030204" pitchFamily="34" charset="0"/>
              <a:ea typeface="Tahoma" panose="020B060403050404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E5566E63-03B1-9E45-A946-2C103AF2739A}"/>
              </a:ext>
            </a:extLst>
          </p:cNvPr>
          <p:cNvSpPr/>
          <p:nvPr/>
        </p:nvSpPr>
        <p:spPr>
          <a:xfrm>
            <a:off x="445140" y="1718992"/>
            <a:ext cx="11451113" cy="13725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kk-KZ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lvl="6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kk-KZ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ешек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і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жбүрлеп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іп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алары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спар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серулерд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п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та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маме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 млн.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інд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ешек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ға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д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інг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дыр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п-бөліп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емелері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ында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ысынд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ындау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мкі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ініксіздіктерд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әлсіздікте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шылықтард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ю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сатынд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діснам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ңес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тілігінд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ға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ді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рініс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нге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імд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орттаушыла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ТС 10%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детілге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сі</a:t>
            </a:r>
            <a:endParaRPr lang="kk-KZ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66828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басшысының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апсырмалары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5" name="Группа 10"/>
          <p:cNvGrpSpPr>
            <a:grpSpLocks/>
          </p:cNvGrpSpPr>
          <p:nvPr/>
        </p:nvGrpSpPr>
        <p:grpSpPr bwMode="auto">
          <a:xfrm>
            <a:off x="2804840" y="1273175"/>
            <a:ext cx="2978700" cy="2887507"/>
            <a:chOff x="2804765" y="1273912"/>
            <a:chExt cx="2978985" cy="2887309"/>
          </a:xfrm>
        </p:grpSpPr>
        <p:sp>
          <p:nvSpPr>
            <p:cNvPr id="26" name="TextBox 4"/>
            <p:cNvSpPr txBox="1">
              <a:spLocks noChangeAspect="1"/>
            </p:cNvSpPr>
            <p:nvPr/>
          </p:nvSpPr>
          <p:spPr bwMode="auto">
            <a:xfrm>
              <a:off x="2854254" y="1822279"/>
              <a:ext cx="2880000" cy="2338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142875" indent="-142875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раланған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ық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kk-KZ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өлшерлемеге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өту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аңғыртуға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ғытталған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айдадан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КТС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өмендету</a:t>
              </a:r>
              <a:endPara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ән-салтанат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ығын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»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нгізу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Ұйымдардың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әдейі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өлінуіне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ол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ермеу</a:t>
              </a:r>
              <a:endPara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endPara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TextBox 5"/>
            <p:cNvSpPr txBox="1">
              <a:spLocks noChangeArrowheads="1"/>
            </p:cNvSpPr>
            <p:nvPr/>
          </p:nvSpPr>
          <p:spPr bwMode="auto">
            <a:xfrm>
              <a:off x="2804765" y="1273912"/>
              <a:ext cx="2978985" cy="3693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22 </a:t>
              </a:r>
              <a:r>
                <a:rPr lang="ru-RU" altLang="en-US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ылғы</a:t>
              </a:r>
              <a:r>
                <a:rPr lang="ru-RU" altLang="en-US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1 </a:t>
              </a:r>
              <a:r>
                <a:rPr lang="ru-RU" altLang="en-US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ыркүйек</a:t>
              </a:r>
              <a:r>
                <a:rPr lang="ru-RU" altLang="en-US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</a:p>
          </p:txBody>
        </p:sp>
      </p:grpSp>
      <p:grpSp>
        <p:nvGrpSpPr>
          <p:cNvPr id="28" name="Группа 11"/>
          <p:cNvGrpSpPr>
            <a:grpSpLocks/>
          </p:cNvGrpSpPr>
          <p:nvPr/>
        </p:nvGrpSpPr>
        <p:grpSpPr bwMode="auto">
          <a:xfrm>
            <a:off x="5849661" y="1273175"/>
            <a:ext cx="2978700" cy="2379690"/>
            <a:chOff x="5993334" y="1273912"/>
            <a:chExt cx="2978986" cy="2379464"/>
          </a:xfrm>
        </p:grpSpPr>
        <p:sp>
          <p:nvSpPr>
            <p:cNvPr id="29" name="TextBox 6"/>
            <p:cNvSpPr txBox="1">
              <a:spLocks noChangeAspect="1"/>
            </p:cNvSpPr>
            <p:nvPr/>
          </p:nvSpPr>
          <p:spPr bwMode="auto">
            <a:xfrm>
              <a:off x="6042826" y="1822279"/>
              <a:ext cx="2880000" cy="18310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142875" indent="-142875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ық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пен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өлемдер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нын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20%-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ға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зайту</a:t>
              </a:r>
              <a:endPara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ық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еңілдіктерін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20%-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ға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ысқарту</a:t>
              </a:r>
              <a:endPara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ервистік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оделіне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өшу</a:t>
              </a:r>
              <a:endPara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ық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септілігі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ысандарын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30%-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ға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ысқарту</a:t>
              </a:r>
              <a:endPara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TextBox 7"/>
            <p:cNvSpPr txBox="1">
              <a:spLocks noChangeArrowheads="1"/>
            </p:cNvSpPr>
            <p:nvPr/>
          </p:nvSpPr>
          <p:spPr bwMode="auto">
            <a:xfrm>
              <a:off x="5993334" y="1273912"/>
              <a:ext cx="2978986" cy="369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23 </a:t>
              </a:r>
              <a:r>
                <a:rPr lang="ru-RU" altLang="en-US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ылғы</a:t>
              </a:r>
              <a:r>
                <a:rPr lang="ru-RU" altLang="en-US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1 </a:t>
              </a:r>
              <a:r>
                <a:rPr lang="ru-RU" altLang="en-US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ыркүйек</a:t>
              </a:r>
              <a:r>
                <a:rPr lang="ru-RU" altLang="en-US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</a:p>
          </p:txBody>
        </p:sp>
      </p:grpSp>
      <p:grpSp>
        <p:nvGrpSpPr>
          <p:cNvPr id="31" name="Группа 12"/>
          <p:cNvGrpSpPr>
            <a:grpSpLocks/>
          </p:cNvGrpSpPr>
          <p:nvPr/>
        </p:nvGrpSpPr>
        <p:grpSpPr bwMode="auto">
          <a:xfrm>
            <a:off x="8943976" y="1273175"/>
            <a:ext cx="2879725" cy="3318359"/>
            <a:chOff x="9071852" y="1273912"/>
            <a:chExt cx="2880000" cy="3318343"/>
          </a:xfrm>
        </p:grpSpPr>
        <p:sp>
          <p:nvSpPr>
            <p:cNvPr id="32" name="TextBox 8"/>
            <p:cNvSpPr txBox="1">
              <a:spLocks noChangeArrowheads="1"/>
            </p:cNvSpPr>
            <p:nvPr/>
          </p:nvSpPr>
          <p:spPr bwMode="auto">
            <a:xfrm>
              <a:off x="9071852" y="1822279"/>
              <a:ext cx="2880000" cy="2769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142875" indent="-142875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just"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айданы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йта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вестициялауға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ынталандыру</a:t>
              </a:r>
              <a:endPara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ықтық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рнулы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жимдерді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өзгерту</a:t>
              </a:r>
              <a:endPara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ық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еңілдіктерін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лудың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шық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әне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қты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режелерін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әзірлеу</a:t>
              </a:r>
              <a:endPara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ҚС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формалау</a:t>
              </a:r>
              <a:endPara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ықтық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әкімшілендіруді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цифрландыру</a:t>
              </a:r>
              <a:endPara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TextBox 9"/>
            <p:cNvSpPr txBox="1">
              <a:spLocks noChangeArrowheads="1"/>
            </p:cNvSpPr>
            <p:nvPr/>
          </p:nvSpPr>
          <p:spPr bwMode="auto">
            <a:xfrm>
              <a:off x="9238786" y="1273912"/>
              <a:ext cx="2546133" cy="369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24 </a:t>
              </a:r>
              <a:r>
                <a:rPr lang="ru-RU" altLang="en-US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ылғы</a:t>
              </a:r>
              <a:r>
                <a:rPr lang="ru-RU" altLang="en-US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7 </a:t>
              </a:r>
              <a:r>
                <a:rPr lang="ru-RU" altLang="en-US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қпан</a:t>
              </a:r>
              <a:r>
                <a:rPr lang="ru-RU" altLang="en-US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</a:p>
          </p:txBody>
        </p:sp>
      </p:grpSp>
      <p:sp>
        <p:nvSpPr>
          <p:cNvPr id="34" name="Номер слайда 33"/>
          <p:cNvSpPr>
            <a:spLocks noGrp="1"/>
          </p:cNvSpPr>
          <p:nvPr>
            <p:ph type="sldNum" sz="quarter" idx="12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</a:t>
            </a:fld>
            <a:endParaRPr lang="en-US" sz="1050" dirty="0"/>
          </a:p>
        </p:txBody>
      </p:sp>
      <p:pic>
        <p:nvPicPr>
          <p:cNvPr id="36" name="Picture 23" descr="C:\Users\kazbekov_e\Downloads\dsc-8977-24_mediumThumb.png">
            <a:extLst>
              <a:ext uri="{FF2B5EF4-FFF2-40B4-BE49-F238E27FC236}">
                <a16:creationId xmlns:a16="http://schemas.microsoft.com/office/drawing/2014/main" id="{5413E143-9635-42B5-BD4E-D5A12164AB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691" r="19846" b="6928"/>
          <a:stretch/>
        </p:blipFill>
        <p:spPr bwMode="auto">
          <a:xfrm>
            <a:off x="75351" y="1164657"/>
            <a:ext cx="2613874" cy="2362943"/>
          </a:xfrm>
          <a:prstGeom prst="ellipse">
            <a:avLst/>
          </a:prstGeom>
          <a:ln w="63500" cap="rnd">
            <a:solidFill>
              <a:schemeClr val="tx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3194596" y="3244334"/>
            <a:ext cx="9236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266813" y="3244334"/>
            <a:ext cx="2568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"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338674" y="324433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126277" y="324433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898924" y="324433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189869" y="324433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296996" y="324433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309820" y="324433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769882" y="324433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048000" y="3105835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925647" y="324433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639237" y="324433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4670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пен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өлемдер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ны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азайту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701431" y="1581386"/>
            <a:ext cx="2447925" cy="50038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]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428625" y="1038225"/>
            <a:ext cx="2447925" cy="4333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алықтар</a:t>
            </a:r>
            <a:endParaRPr kumimoji="0" lang="ru-RU" sz="2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068639" y="1154111"/>
            <a:ext cx="2447925" cy="50038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]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3030538" y="1038225"/>
            <a:ext cx="2447925" cy="4333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өлемдер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5682456" y="1154111"/>
            <a:ext cx="3095625" cy="50038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]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5598320" y="1038225"/>
            <a:ext cx="3129756" cy="4333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лымдар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8883650" y="1590911"/>
            <a:ext cx="3095625" cy="50038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]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8883650" y="1038225"/>
            <a:ext cx="3095625" cy="4333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ждар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4" name="TextBox 11"/>
          <p:cNvSpPr txBox="1">
            <a:spLocks noChangeArrowheads="1"/>
          </p:cNvSpPr>
          <p:nvPr/>
        </p:nvSpPr>
        <p:spPr bwMode="auto">
          <a:xfrm>
            <a:off x="407987" y="1503363"/>
            <a:ext cx="246380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15900" indent="-2159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ыңғай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ғы</a:t>
            </a:r>
            <a:endParaRPr lang="en-US" altLang="en-US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12"/>
          <p:cNvSpPr txBox="1">
            <a:spLocks noChangeArrowheads="1"/>
          </p:cNvSpPr>
          <p:nvPr/>
        </p:nvSpPr>
        <p:spPr bwMode="auto">
          <a:xfrm>
            <a:off x="3025776" y="1503363"/>
            <a:ext cx="2413000" cy="192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15900" indent="-2159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ртқ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рнекі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рнаман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наластырған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endParaRPr lang="ru-RU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цензиялард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ған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endParaRPr lang="ru-RU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урстары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ған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endParaRPr lang="ru-RU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манд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ған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endParaRPr lang="ru-RU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нуарлар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үниес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ған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endParaRPr lang="ru-RU" altLang="en-US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13"/>
          <p:cNvSpPr txBox="1">
            <a:spLocks noChangeArrowheads="1"/>
          </p:cNvSpPr>
          <p:nvPr/>
        </p:nvSpPr>
        <p:spPr bwMode="auto">
          <a:xfrm>
            <a:off x="5579269" y="1503363"/>
            <a:ext cx="3208337" cy="2508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15900" indent="-2159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жымал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лік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піл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кеу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рыш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лер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кеу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кеу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әрілік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лдар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циналық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йымдар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ле-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диоарнан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ді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пасөз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ылымы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ке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ю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рықтарына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шылар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жаттар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гені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диожиілік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ктр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ға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ұқсат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гені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endParaRPr lang="ru-RU" altLang="en-US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14"/>
          <p:cNvSpPr txBox="1">
            <a:spLocks noChangeArrowheads="1"/>
          </p:cNvSpPr>
          <p:nvPr/>
        </p:nvSpPr>
        <p:spPr bwMode="auto">
          <a:xfrm>
            <a:off x="8883650" y="1503363"/>
            <a:ext cx="3142456" cy="192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15900" indent="-2159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ізшінің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әліг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гені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тариаттық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-әрекеттер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аған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втомобиль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ымалдар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әліг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гені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нуарлар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імдіктер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лер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порттауға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орттауға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рі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орттауға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ұқсат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гені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ияткерлік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шік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сында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дық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рекеттер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ағаны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endParaRPr lang="ru-RU" altLang="en-US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15"/>
          <p:cNvSpPr txBox="1">
            <a:spLocks noChangeArrowheads="1"/>
          </p:cNvSpPr>
          <p:nvPr/>
        </p:nvSpPr>
        <p:spPr bwMode="auto">
          <a:xfrm>
            <a:off x="361157" y="3985950"/>
            <a:ext cx="2466975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6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н</a:t>
            </a:r>
            <a:r>
              <a:rPr lang="ru-RU" altLang="en-US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қ</a:t>
            </a:r>
            <a:endParaRPr lang="ru-RU" altLang="en-US" sz="16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9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9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ФҚ </a:t>
            </a:r>
            <a:r>
              <a:rPr lang="ru-RU" sz="9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9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ТС </a:t>
            </a:r>
            <a:r>
              <a:rPr lang="ru-RU" sz="9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9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sz="9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СК</a:t>
            </a:r>
            <a:r>
              <a:rPr lang="ru-RU" altLang="en-US" sz="9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49" name="TextBox 16"/>
          <p:cNvSpPr txBox="1">
            <a:spLocks noChangeArrowheads="1"/>
          </p:cNvSpPr>
          <p:nvPr/>
        </p:nvSpPr>
        <p:spPr bwMode="auto">
          <a:xfrm>
            <a:off x="2965450" y="3985950"/>
            <a:ext cx="242728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,4 млрд. </a:t>
            </a:r>
            <a:r>
              <a:rPr lang="ru-RU" altLang="en-US" b="1" dirty="0">
                <a:solidFill>
                  <a:prstClr val="black"/>
                </a:solidFill>
                <a:cs typeface="Calibri" panose="020F0502020204030204" pitchFamily="34" charset="0"/>
              </a:rPr>
              <a:t>₸ </a:t>
            </a:r>
            <a:r>
              <a:rPr lang="ru-RU" altLang="en-US" b="1" dirty="0" err="1">
                <a:solidFill>
                  <a:prstClr val="black"/>
                </a:solidFill>
                <a:cs typeface="Calibri" panose="020F0502020204030204" pitchFamily="34" charset="0"/>
              </a:rPr>
              <a:t>шығындар</a:t>
            </a:r>
            <a:endParaRPr lang="ru-RU" altLang="en-US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17"/>
          <p:cNvSpPr txBox="1">
            <a:spLocks noChangeArrowheads="1"/>
          </p:cNvSpPr>
          <p:nvPr/>
        </p:nvSpPr>
        <p:spPr bwMode="auto">
          <a:xfrm>
            <a:off x="5598320" y="3985950"/>
            <a:ext cx="306863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ru-RU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лрд. </a:t>
            </a:r>
            <a:r>
              <a:rPr lang="ru-RU" altLang="en-US" b="1" dirty="0">
                <a:solidFill>
                  <a:prstClr val="black"/>
                </a:solidFill>
                <a:cs typeface="Calibri" panose="020F0502020204030204" pitchFamily="34" charset="0"/>
              </a:rPr>
              <a:t>₸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b="1" dirty="0" err="1">
                <a:solidFill>
                  <a:prstClr val="black"/>
                </a:solidFill>
                <a:cs typeface="Calibri" panose="020F0502020204030204" pitchFamily="34" charset="0"/>
              </a:rPr>
              <a:t>шығындар</a:t>
            </a:r>
            <a:endParaRPr lang="ru-RU" altLang="en-US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Box 18"/>
          <p:cNvSpPr txBox="1">
            <a:spLocks noChangeArrowheads="1"/>
          </p:cNvSpPr>
          <p:nvPr/>
        </p:nvSpPr>
        <p:spPr bwMode="auto">
          <a:xfrm>
            <a:off x="8883650" y="3984363"/>
            <a:ext cx="309562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</a:t>
            </a:r>
            <a:r>
              <a:rPr lang="en-US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лрд. </a:t>
            </a:r>
            <a:r>
              <a:rPr lang="ru-RU" altLang="en-US" b="1" dirty="0">
                <a:solidFill>
                  <a:prstClr val="black"/>
                </a:solidFill>
                <a:cs typeface="Calibri" panose="020F0502020204030204" pitchFamily="34" charset="0"/>
              </a:rPr>
              <a:t>₸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b="1" dirty="0" err="1">
                <a:solidFill>
                  <a:prstClr val="black"/>
                </a:solidFill>
                <a:cs typeface="Calibri" panose="020F0502020204030204" pitchFamily="34" charset="0"/>
              </a:rPr>
              <a:t>шығындар</a:t>
            </a:r>
            <a:endParaRPr lang="ru-RU" altLang="en-US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361157" y="4028233"/>
            <a:ext cx="11555413" cy="0"/>
          </a:xfrm>
          <a:prstGeom prst="line">
            <a:avLst/>
          </a:prstGeom>
          <a:noFill/>
          <a:ln w="1270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sp>
        <p:nvSpPr>
          <p:cNvPr id="53" name="Левая фигурная скобка 52"/>
          <p:cNvSpPr/>
          <p:nvPr/>
        </p:nvSpPr>
        <p:spPr>
          <a:xfrm>
            <a:off x="2727846" y="2342072"/>
            <a:ext cx="333375" cy="1143000"/>
          </a:xfrm>
          <a:prstGeom prst="leftBrace">
            <a:avLst/>
          </a:prstGeom>
          <a:noFill/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TextBox 15"/>
          <p:cNvSpPr txBox="1">
            <a:spLocks noChangeArrowheads="1"/>
          </p:cNvSpPr>
          <p:nvPr/>
        </p:nvSpPr>
        <p:spPr bwMode="auto">
          <a:xfrm>
            <a:off x="289747" y="2775459"/>
            <a:ext cx="23717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2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іктіру</a:t>
            </a:r>
            <a:endParaRPr lang="ru-RU" altLang="en-US" sz="12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Box 23"/>
          <p:cNvSpPr txBox="1">
            <a:spLocks noChangeArrowheads="1"/>
          </p:cNvSpPr>
          <p:nvPr/>
        </p:nvSpPr>
        <p:spPr bwMode="auto">
          <a:xfrm>
            <a:off x="652939" y="4661888"/>
            <a:ext cx="611065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r>
              <a:rPr lang="ru-RU" altLang="en-US" sz="10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endParaRPr lang="en-US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Стрелка вправо 55"/>
          <p:cNvSpPr/>
          <p:nvPr/>
        </p:nvSpPr>
        <p:spPr>
          <a:xfrm>
            <a:off x="1295598" y="4831750"/>
            <a:ext cx="528638" cy="155575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TextBox 25"/>
          <p:cNvSpPr txBox="1">
            <a:spLocks noChangeArrowheads="1"/>
          </p:cNvSpPr>
          <p:nvPr/>
        </p:nvSpPr>
        <p:spPr bwMode="auto">
          <a:xfrm>
            <a:off x="1902379" y="4673000"/>
            <a:ext cx="602537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r>
              <a:rPr lang="ru-RU" altLang="en-US" sz="10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endParaRPr lang="en-US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TextBox 28"/>
          <p:cNvSpPr txBox="1">
            <a:spLocks noChangeArrowheads="1"/>
          </p:cNvSpPr>
          <p:nvPr/>
        </p:nvSpPr>
        <p:spPr bwMode="auto">
          <a:xfrm>
            <a:off x="2985780" y="5263457"/>
            <a:ext cx="963726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73</a:t>
            </a:r>
            <a:endParaRPr lang="ru-RU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</a:t>
            </a:r>
            <a:endParaRPr lang="en-US" altLang="en-US" sz="28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Стрелка вправо 58"/>
          <p:cNvSpPr/>
          <p:nvPr/>
        </p:nvSpPr>
        <p:spPr>
          <a:xfrm>
            <a:off x="3853404" y="5428557"/>
            <a:ext cx="530225" cy="155575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0" name="TextBox 30"/>
          <p:cNvSpPr txBox="1">
            <a:spLocks noChangeArrowheads="1"/>
          </p:cNvSpPr>
          <p:nvPr/>
        </p:nvSpPr>
        <p:spPr bwMode="auto">
          <a:xfrm>
            <a:off x="4366904" y="5244407"/>
            <a:ext cx="963726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96</a:t>
            </a:r>
            <a:endParaRPr lang="ru-RU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</a:t>
            </a:r>
            <a:endParaRPr lang="en-US" altLang="en-US" sz="2800" i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TextBox 31"/>
          <p:cNvSpPr txBox="1">
            <a:spLocks noChangeArrowheads="1"/>
          </p:cNvSpPr>
          <p:nvPr/>
        </p:nvSpPr>
        <p:spPr bwMode="auto">
          <a:xfrm>
            <a:off x="6018158" y="4616721"/>
            <a:ext cx="963726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0</a:t>
            </a:r>
            <a:endParaRPr lang="ru-RU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</a:t>
            </a:r>
            <a:endParaRPr lang="en-US" altLang="en-US" sz="2800" i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Стрелка вправо 61"/>
          <p:cNvSpPr/>
          <p:nvPr/>
        </p:nvSpPr>
        <p:spPr>
          <a:xfrm>
            <a:off x="6868320" y="4780233"/>
            <a:ext cx="530225" cy="155575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3" name="TextBox 33"/>
          <p:cNvSpPr txBox="1">
            <a:spLocks noChangeArrowheads="1"/>
          </p:cNvSpPr>
          <p:nvPr/>
        </p:nvSpPr>
        <p:spPr bwMode="auto">
          <a:xfrm>
            <a:off x="7356421" y="4623071"/>
            <a:ext cx="963725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76</a:t>
            </a:r>
            <a:endParaRPr lang="ru-RU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</a:t>
            </a:r>
            <a:endParaRPr lang="en-US" altLang="en-US" sz="2800" i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TextBox 37"/>
          <p:cNvSpPr txBox="1">
            <a:spLocks noChangeArrowheads="1"/>
          </p:cNvSpPr>
          <p:nvPr/>
        </p:nvSpPr>
        <p:spPr bwMode="auto">
          <a:xfrm>
            <a:off x="9254277" y="4621483"/>
            <a:ext cx="963726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3</a:t>
            </a:r>
            <a:endParaRPr lang="ru-RU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</a:t>
            </a:r>
            <a:endParaRPr lang="en-US" altLang="en-US" sz="2800" i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Стрелка вправо 64"/>
          <p:cNvSpPr/>
          <p:nvPr/>
        </p:nvSpPr>
        <p:spPr>
          <a:xfrm>
            <a:off x="10216357" y="4804045"/>
            <a:ext cx="530225" cy="153987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6" name="TextBox 39"/>
          <p:cNvSpPr txBox="1">
            <a:spLocks noChangeArrowheads="1"/>
          </p:cNvSpPr>
          <p:nvPr/>
        </p:nvSpPr>
        <p:spPr bwMode="auto">
          <a:xfrm>
            <a:off x="10753670" y="4618308"/>
            <a:ext cx="963726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2</a:t>
            </a:r>
            <a:endParaRPr lang="ru-RU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</a:t>
            </a:r>
            <a:endParaRPr lang="en-US" altLang="en-US" sz="2800" i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Левая фигурная скобка 2">
            <a:extLst>
              <a:ext uri="{FF2B5EF4-FFF2-40B4-BE49-F238E27FC236}">
                <a16:creationId xmlns:a16="http://schemas.microsoft.com/office/drawing/2014/main" id="{B1C8253F-3443-B2E0-BD9C-5B2BC33C6C20}"/>
              </a:ext>
            </a:extLst>
          </p:cNvPr>
          <p:cNvSpPr/>
          <p:nvPr/>
        </p:nvSpPr>
        <p:spPr>
          <a:xfrm rot="16200000">
            <a:off x="5868627" y="449406"/>
            <a:ext cx="545425" cy="11034504"/>
          </a:xfrm>
          <a:prstGeom prst="leftBrace">
            <a:avLst>
              <a:gd name="adj1" fmla="val 118539"/>
              <a:gd name="adj2" fmla="val 50005"/>
            </a:avLst>
          </a:prstGeom>
          <a:ln w="38100">
            <a:solidFill>
              <a:srgbClr val="002060">
                <a:alpha val="6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EC8670C-469E-AF41-5BF5-1140121745C1}"/>
              </a:ext>
            </a:extLst>
          </p:cNvPr>
          <p:cNvSpPr txBox="1"/>
          <p:nvPr/>
        </p:nvSpPr>
        <p:spPr>
          <a:xfrm>
            <a:off x="5542076" y="6344787"/>
            <a:ext cx="1403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20,</a:t>
            </a:r>
            <a:r>
              <a:rPr lang="ru-RU" sz="2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2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ru-RU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TextBox 23"/>
          <p:cNvSpPr txBox="1">
            <a:spLocks noChangeArrowheads="1"/>
          </p:cNvSpPr>
          <p:nvPr/>
        </p:nvSpPr>
        <p:spPr bwMode="auto">
          <a:xfrm>
            <a:off x="3103847" y="4669400"/>
            <a:ext cx="805029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r>
              <a:rPr lang="ru-RU" altLang="en-US" sz="10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</a:t>
            </a:r>
            <a:endParaRPr lang="en-US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Стрелка вправо 67"/>
          <p:cNvSpPr/>
          <p:nvPr/>
        </p:nvSpPr>
        <p:spPr>
          <a:xfrm>
            <a:off x="3843486" y="4839262"/>
            <a:ext cx="528638" cy="155575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9" name="TextBox 25"/>
          <p:cNvSpPr txBox="1">
            <a:spLocks noChangeArrowheads="1"/>
          </p:cNvSpPr>
          <p:nvPr/>
        </p:nvSpPr>
        <p:spPr bwMode="auto">
          <a:xfrm>
            <a:off x="4347142" y="4682016"/>
            <a:ext cx="805029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ru-RU" altLang="en-US" sz="10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</a:t>
            </a:r>
            <a:endParaRPr lang="en-US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88670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жеңілдіктері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ексеру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-30290" y="999914"/>
            <a:ext cx="49261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дың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ытындысы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</a:t>
            </a:r>
            <a:endParaRPr lang="ru-RU" sz="1600" u="sng" dirty="0">
              <a:solidFill>
                <a:srgbClr val="002060"/>
              </a:solidFill>
            </a:endParaRPr>
          </a:p>
        </p:txBody>
      </p:sp>
      <p:cxnSp>
        <p:nvCxnSpPr>
          <p:cNvPr id="22" name="Прямая соединительная линия 3">
            <a:extLst>
              <a:ext uri="{FF2B5EF4-FFF2-40B4-BE49-F238E27FC236}">
                <a16:creationId xmlns:a16="http://schemas.microsoft.com/office/drawing/2014/main" id="{B7FF072B-555A-A8D2-E4BE-0E0F0A5AD771}"/>
              </a:ext>
            </a:extLst>
          </p:cNvPr>
          <p:cNvCxnSpPr>
            <a:cxnSpLocks/>
          </p:cNvCxnSpPr>
          <p:nvPr/>
        </p:nvCxnSpPr>
        <p:spPr>
          <a:xfrm flipH="1" flipV="1">
            <a:off x="4966934" y="999914"/>
            <a:ext cx="9377" cy="5482502"/>
          </a:xfrm>
          <a:prstGeom prst="line">
            <a:avLst/>
          </a:prstGeom>
          <a:ln w="952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4592976"/>
              </p:ext>
            </p:extLst>
          </p:nvPr>
        </p:nvGraphicFramePr>
        <p:xfrm>
          <a:off x="121119" y="1492343"/>
          <a:ext cx="4466646" cy="14380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4740">
                  <a:extLst>
                    <a:ext uri="{9D8B030D-6E8A-4147-A177-3AD203B41FA5}">
                      <a16:colId xmlns:a16="http://schemas.microsoft.com/office/drawing/2014/main" val="402507509"/>
                    </a:ext>
                  </a:extLst>
                </a:gridCol>
                <a:gridCol w="2589325">
                  <a:extLst>
                    <a:ext uri="{9D8B030D-6E8A-4147-A177-3AD203B41FA5}">
                      <a16:colId xmlns:a16="http://schemas.microsoft.com/office/drawing/2014/main" val="2054858930"/>
                    </a:ext>
                  </a:extLst>
                </a:gridCol>
                <a:gridCol w="1142581">
                  <a:extLst>
                    <a:ext uri="{9D8B030D-6E8A-4147-A177-3AD203B41FA5}">
                      <a16:colId xmlns:a16="http://schemas.microsoft.com/office/drawing/2014/main" val="2244640947"/>
                    </a:ext>
                  </a:extLst>
                </a:gridCol>
              </a:tblGrid>
              <a:tr h="576364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r>
                        <a:rPr lang="kk-KZ" sz="20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650"/>
                        </a:spcBef>
                        <a:spcAft>
                          <a:spcPts val="65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еңілдік</a:t>
                      </a: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6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лгілері</a:t>
                      </a: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бар СК </a:t>
                      </a:r>
                      <a:r>
                        <a:rPr kumimoji="0" lang="ru-RU" sz="16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рмақтарына</a:t>
                      </a: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4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sz="1400" b="0" i="1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ксеру</a:t>
                      </a:r>
                      <a:r>
                        <a:rPr kumimoji="0" lang="ru-RU" sz="14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400" b="0" i="1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үргізілді</a:t>
                      </a:r>
                      <a:r>
                        <a:rPr kumimoji="0" lang="ru-RU" sz="14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9,5 </a:t>
                      </a: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рлн. </a:t>
                      </a:r>
                      <a:r>
                        <a:rPr kumimoji="0" lang="ru-RU" sz="14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еңге</a:t>
                      </a:r>
                      <a:endParaRPr kumimoji="0" lang="ru-RU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30643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650"/>
                        </a:spcBef>
                        <a:spcAft>
                          <a:spcPts val="65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1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ксеру</a:t>
                      </a:r>
                      <a:r>
                        <a:rPr kumimoji="0" lang="ru-RU" sz="14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400" b="0" i="1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орытындысы</a:t>
                      </a:r>
                      <a:r>
                        <a:rPr kumimoji="0" lang="ru-RU" sz="140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400" b="0" i="1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kumimoji="0" lang="kk-KZ" sz="14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:</a:t>
                      </a:r>
                      <a:endParaRPr kumimoji="0" lang="ru-RU" sz="14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701302"/>
                  </a:ext>
                </a:extLst>
              </a:tr>
            </a:tbl>
          </a:graphicData>
        </a:graphic>
      </p:graphicFrame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41801"/>
              </p:ext>
            </p:extLst>
          </p:nvPr>
        </p:nvGraphicFramePr>
        <p:xfrm>
          <a:off x="103865" y="2959131"/>
          <a:ext cx="4466646" cy="9088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4740">
                  <a:extLst>
                    <a:ext uri="{9D8B030D-6E8A-4147-A177-3AD203B41FA5}">
                      <a16:colId xmlns:a16="http://schemas.microsoft.com/office/drawing/2014/main" val="2072964947"/>
                    </a:ext>
                  </a:extLst>
                </a:gridCol>
                <a:gridCol w="2589325">
                  <a:extLst>
                    <a:ext uri="{9D8B030D-6E8A-4147-A177-3AD203B41FA5}">
                      <a16:colId xmlns:a16="http://schemas.microsoft.com/office/drawing/2014/main" val="1125277635"/>
                    </a:ext>
                  </a:extLst>
                </a:gridCol>
                <a:gridCol w="1142581">
                  <a:extLst>
                    <a:ext uri="{9D8B030D-6E8A-4147-A177-3AD203B41FA5}">
                      <a16:colId xmlns:a16="http://schemas.microsoft.com/office/drawing/2014/main" val="20695775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kk-KZ" sz="20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5</a:t>
                      </a:r>
                      <a:endParaRPr lang="en-US" sz="20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650"/>
                        </a:spcBef>
                        <a:spcAft>
                          <a:spcPts val="65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рмақ</a:t>
                      </a: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6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алық</a:t>
                      </a: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6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еңілдіктері</a:t>
                      </a: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6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олып</a:t>
                      </a: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6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былмайды</a:t>
                      </a:r>
                      <a:endParaRPr kumimoji="0" lang="ru-RU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k-KZ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,2</a:t>
                      </a:r>
                      <a:r>
                        <a:rPr kumimoji="0" lang="kk-KZ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трлн. теңге</a:t>
                      </a:r>
                      <a:endParaRPr kumimoji="0" lang="ru-RU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8519892"/>
                  </a:ext>
                </a:extLst>
              </a:tr>
            </a:tbl>
          </a:graphicData>
        </a:graphic>
      </p:graphicFrame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5319808"/>
              </p:ext>
            </p:extLst>
          </p:nvPr>
        </p:nvGraphicFramePr>
        <p:xfrm>
          <a:off x="90740" y="4031419"/>
          <a:ext cx="4466646" cy="6283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4740">
                  <a:extLst>
                    <a:ext uri="{9D8B030D-6E8A-4147-A177-3AD203B41FA5}">
                      <a16:colId xmlns:a16="http://schemas.microsoft.com/office/drawing/2014/main" val="1709190267"/>
                    </a:ext>
                  </a:extLst>
                </a:gridCol>
                <a:gridCol w="2589325">
                  <a:extLst>
                    <a:ext uri="{9D8B030D-6E8A-4147-A177-3AD203B41FA5}">
                      <a16:colId xmlns:a16="http://schemas.microsoft.com/office/drawing/2014/main" val="1188130660"/>
                    </a:ext>
                  </a:extLst>
                </a:gridCol>
                <a:gridCol w="1142581">
                  <a:extLst>
                    <a:ext uri="{9D8B030D-6E8A-4147-A177-3AD203B41FA5}">
                      <a16:colId xmlns:a16="http://schemas.microsoft.com/office/drawing/2014/main" val="2780348789"/>
                    </a:ext>
                  </a:extLst>
                </a:gridCol>
              </a:tblGrid>
              <a:tr h="576364">
                <a:tc>
                  <a:txBody>
                    <a:bodyPr/>
                    <a:lstStyle/>
                    <a:p>
                      <a:pPr algn="ctr"/>
                      <a:r>
                        <a:rPr lang="kk-KZ" sz="2000" b="1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9</a:t>
                      </a:r>
                      <a:endParaRPr lang="en-US" sz="20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650"/>
                        </a:spcBef>
                        <a:spcAft>
                          <a:spcPts val="65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рмақ</a:t>
                      </a: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6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еңілдіктер</a:t>
                      </a: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6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тінде</a:t>
                      </a: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6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нықталады</a:t>
                      </a:r>
                      <a:endParaRPr kumimoji="0" lang="ru-RU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k-KZ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,3</a:t>
                      </a:r>
                      <a:r>
                        <a:rPr kumimoji="0" lang="kk-KZ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трлн. тенге</a:t>
                      </a:r>
                      <a:endParaRPr kumimoji="0" lang="ru-RU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9103058"/>
                  </a:ext>
                </a:extLst>
              </a:tr>
            </a:tbl>
          </a:graphicData>
        </a:graphic>
      </p:graphicFrame>
      <p:sp>
        <p:nvSpPr>
          <p:cNvPr id="20" name="Прямоугольник 19"/>
          <p:cNvSpPr/>
          <p:nvPr/>
        </p:nvSpPr>
        <p:spPr>
          <a:xfrm>
            <a:off x="6052050" y="3959342"/>
            <a:ext cx="736600" cy="5000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4855329" y="936706"/>
            <a:ext cx="7313271" cy="431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Ұсыныстар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4764589" y="1366591"/>
            <a:ext cx="1514447" cy="3889264"/>
          </a:xfrm>
          <a:prstGeom prst="rect">
            <a:avLst/>
          </a:prstGeom>
          <a:solidFill>
            <a:srgbClr val="D9D9D9">
              <a:alpha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indent="-8255" algn="ctr">
              <a:defRPr/>
            </a:pPr>
            <a:r>
              <a:rPr lang="ru-RU" sz="16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пы</a:t>
            </a:r>
            <a:r>
              <a:rPr lang="ru-RU" sz="16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сілдер</a:t>
            </a:r>
            <a:endParaRPr lang="ru-RU" sz="1600" b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279036" y="1335304"/>
            <a:ext cx="5800472" cy="35721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ғымын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ттеу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кларациядағы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лық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ін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рсету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рбір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інің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збесін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ілеу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леген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лу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дерін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ілеу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лық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дардың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ді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гізу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ытталған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саттарға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ткізуін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ілеу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леген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ін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сы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емелерді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ілеу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пиясы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іне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лмайды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әкілетті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дар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әсекелестікке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сы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режелер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ғысынан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ған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ді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ополияға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сы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мен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еді</a:t>
            </a:r>
            <a:endParaRPr lang="ru-RU" sz="14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4789283" y="5423027"/>
            <a:ext cx="1489752" cy="1026986"/>
          </a:xfrm>
          <a:prstGeom prst="rect">
            <a:avLst/>
          </a:prstGeom>
          <a:solidFill>
            <a:srgbClr val="D9D9D9">
              <a:alpha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lvl="0" indent="-8255" algn="ctr">
              <a:defRPr/>
            </a:pPr>
            <a:r>
              <a:rPr lang="ru-RU" sz="16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6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ін</a:t>
            </a:r>
            <a:r>
              <a:rPr lang="ru-RU" sz="16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йту</a:t>
            </a:r>
            <a:endParaRPr lang="ru-RU" sz="1600" b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6368127" y="5695909"/>
            <a:ext cx="5800473" cy="3173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%-дан аса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інің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п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тау</a:t>
            </a:r>
            <a:endParaRPr lang="ru-RU" sz="14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9485155"/>
              </p:ext>
            </p:extLst>
          </p:nvPr>
        </p:nvGraphicFramePr>
        <p:xfrm>
          <a:off x="110666" y="5003314"/>
          <a:ext cx="4456532" cy="9789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6532">
                  <a:extLst>
                    <a:ext uri="{9D8B030D-6E8A-4147-A177-3AD203B41FA5}">
                      <a16:colId xmlns:a16="http://schemas.microsoft.com/office/drawing/2014/main" val="1188130660"/>
                    </a:ext>
                  </a:extLst>
                </a:gridCol>
              </a:tblGrid>
              <a:tr h="5763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k-K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kumimoji="0" lang="kk-K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kk-KZ" sz="2000" b="1" kern="1200" noProof="0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0</a:t>
                      </a:r>
                      <a:r>
                        <a:rPr kumimoji="0" lang="kk-K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жеңілдіктер </a:t>
                      </a:r>
                      <a:r>
                        <a:rPr lang="kk-KZ" sz="2000" b="1" kern="1200" noProof="0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,3 </a:t>
                      </a:r>
                      <a:r>
                        <a:rPr kumimoji="0" lang="kk-K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рлн. теңге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лып</a:t>
                      </a: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6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стау</a:t>
                      </a: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6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ұсынылады</a:t>
                      </a:r>
                      <a:endParaRPr kumimoji="0" lang="ru-RU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91030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92816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КТС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мөлшерлемелері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ралау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5" name="Таблица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5269134"/>
              </p:ext>
            </p:extLst>
          </p:nvPr>
        </p:nvGraphicFramePr>
        <p:xfrm>
          <a:off x="270907" y="1151405"/>
          <a:ext cx="11448523" cy="52585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06788">
                  <a:extLst>
                    <a:ext uri="{9D8B030D-6E8A-4147-A177-3AD203B41FA5}">
                      <a16:colId xmlns:a16="http://schemas.microsoft.com/office/drawing/2014/main" val="1709190267"/>
                    </a:ext>
                  </a:extLst>
                </a:gridCol>
                <a:gridCol w="7841735">
                  <a:extLst>
                    <a:ext uri="{9D8B030D-6E8A-4147-A177-3AD203B41FA5}">
                      <a16:colId xmlns:a16="http://schemas.microsoft.com/office/drawing/2014/main" val="1188130660"/>
                    </a:ext>
                  </a:extLst>
                </a:gridCol>
              </a:tblGrid>
              <a:tr h="169445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6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25%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3600" b="1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/>
                        <a:sym typeface="Arial" panose="020B0604020202020204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6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25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Банк секторы</a:t>
                      </a:r>
                      <a:r>
                        <a:rPr lang="en-US" sz="20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endParaRPr lang="ru-RU" sz="2000" b="1" kern="0" noProof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/>
                        <a:sym typeface="Arial" panose="020B0604020202020204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kern="0" noProof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  <a:sym typeface="Arial" panose="020B0604020202020204"/>
                        </a:rPr>
                        <a:t>(</a:t>
                      </a:r>
                      <a:r>
                        <a:rPr lang="ru-RU" sz="2000" b="0" kern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ЕДБ-</a:t>
                      </a:r>
                      <a:r>
                        <a:rPr lang="ru-RU" sz="2000" b="0" kern="0" dirty="0" err="1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нің</a:t>
                      </a:r>
                      <a:r>
                        <a:rPr lang="ru-RU" sz="2000" b="0" kern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b="0" kern="0" dirty="0" err="1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кредиттеуден</a:t>
                      </a:r>
                      <a:r>
                        <a:rPr lang="ru-RU" sz="2000" b="0" kern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b="0" kern="0" dirty="0" err="1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түскен</a:t>
                      </a:r>
                      <a:r>
                        <a:rPr lang="ru-RU" sz="2000" b="0" kern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b="0" kern="0" dirty="0" err="1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кірістерін</a:t>
                      </a:r>
                      <a:r>
                        <a:rPr lang="ru-RU" sz="2000" b="0" kern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b="0" kern="0" dirty="0" err="1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қоспағанда</a:t>
                      </a:r>
                      <a:r>
                        <a:rPr lang="ru-RU" sz="2000" b="0" kern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b="0" kern="0" dirty="0" err="1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нақты</a:t>
                      </a:r>
                      <a:r>
                        <a:rPr lang="ru-RU" sz="2000" b="0" kern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сектор</a:t>
                      </a:r>
                      <a:r>
                        <a:rPr lang="ru-RU" sz="2000" b="0" kern="0" noProof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  <a:sym typeface="Arial" panose="020B0604020202020204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Ойын</a:t>
                      </a:r>
                      <a:r>
                        <a:rPr lang="ru-RU" sz="20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b="1" kern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бизнесі</a:t>
                      </a:r>
                      <a:endParaRPr lang="ru-RU" sz="2000" b="1" kern="0" noProof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/>
                        <a:sym typeface="Arial" panose="020B0604020202020204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9103058"/>
                  </a:ext>
                </a:extLst>
              </a:tr>
              <a:tr h="95948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6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20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Жалпы</a:t>
                      </a:r>
                      <a:r>
                        <a:rPr lang="ru-RU" sz="20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b="1" kern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белгіленген</a:t>
                      </a:r>
                      <a:r>
                        <a:rPr lang="ru-RU" sz="20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b="1" kern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мөлшерлеме</a:t>
                      </a:r>
                      <a:endParaRPr lang="en-US" sz="2000" b="1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КТС </a:t>
                      </a:r>
                      <a:r>
                        <a:rPr lang="ru-RU" sz="2000" b="1" kern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базалық</a:t>
                      </a:r>
                      <a:r>
                        <a:rPr lang="ru-RU" sz="20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b="1" kern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мөлшерлемесі</a:t>
                      </a:r>
                      <a:endParaRPr lang="ru-RU" sz="2000" b="1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0263492"/>
                  </a:ext>
                </a:extLst>
              </a:tr>
              <a:tr h="160147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36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10%</a:t>
                      </a:r>
                      <a:endParaRPr lang="en-US" sz="3600" b="1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Өңдеу</a:t>
                      </a:r>
                      <a:r>
                        <a:rPr lang="ru-RU" sz="20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b="1" kern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өнеркәсібі</a:t>
                      </a:r>
                      <a:r>
                        <a:rPr lang="ru-RU" sz="20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b="1" kern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үшін</a:t>
                      </a:r>
                      <a:r>
                        <a:rPr lang="en-US" sz="20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(</a:t>
                      </a:r>
                      <a:r>
                        <a:rPr lang="ru-RU" sz="2000" kern="0" dirty="0" err="1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қайта</a:t>
                      </a:r>
                      <a:r>
                        <a:rPr lang="ru-RU" sz="2000" kern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kern="0" dirty="0" err="1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бөлу</a:t>
                      </a:r>
                      <a:r>
                        <a:rPr lang="ru-RU" sz="2000" kern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kern="0" dirty="0" err="1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деңгейіне</a:t>
                      </a:r>
                      <a:r>
                        <a:rPr lang="ru-RU" sz="2000" kern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kern="0" dirty="0" err="1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байланысты</a:t>
                      </a:r>
                      <a:r>
                        <a:rPr lang="ru-RU" sz="2000" kern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),</a:t>
                      </a:r>
                      <a:r>
                        <a:rPr lang="ru-RU" sz="2000" kern="0" baseline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 </a:t>
                      </a:r>
                      <a:r>
                        <a:rPr lang="ru-RU" sz="2000" b="1" kern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әлеуметтік</a:t>
                      </a:r>
                      <a:r>
                        <a:rPr lang="ru-RU" sz="20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сала</a:t>
                      </a:r>
                      <a:r>
                        <a:rPr lang="ru-RU" sz="20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, </a:t>
                      </a:r>
                      <a:r>
                        <a:rPr lang="ru-RU" sz="2000" kern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(</a:t>
                      </a:r>
                      <a:r>
                        <a:rPr lang="ru-RU" sz="2000" kern="0" dirty="0" err="1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білім</a:t>
                      </a:r>
                      <a:r>
                        <a:rPr lang="ru-RU" sz="2000" kern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, медицина, </a:t>
                      </a:r>
                      <a:r>
                        <a:rPr lang="ru-RU" sz="2000" kern="0" dirty="0" err="1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денсаулық</a:t>
                      </a:r>
                      <a:r>
                        <a:rPr lang="ru-RU" sz="2000" kern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kern="0" dirty="0" err="1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сақтау</a:t>
                      </a:r>
                      <a:r>
                        <a:rPr lang="ru-RU" sz="2000" kern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),</a:t>
                      </a:r>
                      <a:r>
                        <a:rPr lang="ru-RU" sz="20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 </a:t>
                      </a:r>
                      <a:r>
                        <a:rPr lang="ru-RU" sz="2000" b="1" kern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қаржы</a:t>
                      </a:r>
                      <a:r>
                        <a:rPr lang="ru-RU" sz="20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 лизинг</a:t>
                      </a:r>
                      <a:endParaRPr lang="ru-RU" sz="2000" b="1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/>
                        <a:sym typeface="Arial" panose="020B0604020202020204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4071666"/>
                  </a:ext>
                </a:extLst>
              </a:tr>
              <a:tr h="96024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6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3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Ауыл</a:t>
                      </a:r>
                      <a:r>
                        <a:rPr lang="ru-RU" sz="20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b="1" kern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шаруашылығы</a:t>
                      </a:r>
                      <a:r>
                        <a:rPr lang="ru-RU" sz="20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b="1" kern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тауарын</a:t>
                      </a:r>
                      <a:r>
                        <a:rPr lang="ru-RU" sz="20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b="1" kern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өндірушілер</a:t>
                      </a:r>
                      <a:endParaRPr lang="ru-RU" sz="2000" b="1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70%-</a:t>
                      </a:r>
                      <a:r>
                        <a:rPr lang="ru-RU" sz="2000" kern="0" dirty="0" err="1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мөлшерлеме</a:t>
                      </a:r>
                      <a:r>
                        <a:rPr lang="ru-RU" sz="2000" kern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kern="0" dirty="0" err="1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жеңілдікті</a:t>
                      </a:r>
                      <a:r>
                        <a:rPr lang="ru-RU" sz="2000" kern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(</a:t>
                      </a:r>
                      <a:r>
                        <a:rPr lang="ru-RU" sz="2000" kern="0" dirty="0" err="1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қолданыстағы</a:t>
                      </a:r>
                      <a:r>
                        <a:rPr lang="ru-RU" sz="2000" kern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) </a:t>
                      </a:r>
                      <a:r>
                        <a:rPr lang="ru-RU" sz="2000" kern="0" dirty="0" err="1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ескере</a:t>
                      </a:r>
                      <a:r>
                        <a:rPr lang="ru-RU" sz="2000" kern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 </a:t>
                      </a:r>
                      <a:r>
                        <a:rPr lang="ru-RU" sz="2000" kern="0" dirty="0" err="1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отырып</a:t>
                      </a:r>
                      <a:endParaRPr lang="ru-RU" sz="2000" kern="0" dirty="0">
                        <a:solidFill>
                          <a:prstClr val="black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8547524"/>
                  </a:ext>
                </a:extLst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21805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Инвестициялард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ынталандыру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өңдеуді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дамыту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(1/2)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7406" y="1098031"/>
            <a:ext cx="11937188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68375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ТС/ЖТС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пы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іленге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жимд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каның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қт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ын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ар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ынталандыраты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мбебап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мкіндікте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:</a:t>
            </a:r>
          </a:p>
          <a:p>
            <a:pPr marL="625475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ндардың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00%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індег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ференциялары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968375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мінд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тыме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имараттар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тар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шиналар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бдықтар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дарламалық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уд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ып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салу</a:t>
            </a:r>
          </a:p>
          <a:p>
            <a:pPr marL="968375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у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ғырту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рдел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ғымдағы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деу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нің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ңдау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жолғ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мортизация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911225" lvl="4" indent="-285750" algn="just">
              <a:spcBef>
                <a:spcPts val="900"/>
              </a:spcBef>
              <a:buClr>
                <a:srgbClr val="000000"/>
              </a:buClr>
              <a:buFont typeface="Wingdings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ісінің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імі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уд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д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аты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ле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ТС (10%)/ЖТС (5%)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детілге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с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ңде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еркәсіб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нің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лер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0684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Инвестициялард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ынталандыру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өңдеуді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дамыту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(2/2)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83675" y="4926038"/>
            <a:ext cx="11624650" cy="7617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1"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ылымды</a:t>
            </a: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ландыруға</a:t>
            </a: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стар</a:t>
            </a: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00% </a:t>
            </a:r>
            <a:r>
              <a:rPr kumimoji="1"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індегі</a:t>
            </a: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дер</a:t>
            </a:r>
            <a:endParaRPr kumimoji="1"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лы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ғаздармен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циялар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ндарды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естіру</a:t>
            </a:r>
            <a:endParaRPr lang="ru-RU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3988232"/>
            <a:ext cx="12192000" cy="625410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Қосымша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ынталандыру</a:t>
            </a:r>
            <a:endParaRPr lang="en-US" sz="28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1528615"/>
            <a:ext cx="12102345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38480" indent="-2730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kumimoji="1"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йын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імді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қаннан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ін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ге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мкіндік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 </a:t>
            </a:r>
            <a:r>
              <a:rPr kumimoji="1"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сатында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да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ңделетін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икізат</a:t>
            </a: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портына</a:t>
            </a: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ҚС </a:t>
            </a:r>
            <a:r>
              <a:rPr kumimoji="1"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 </a:t>
            </a:r>
            <a:r>
              <a:rPr kumimoji="1"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інге</a:t>
            </a: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дыру</a:t>
            </a: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қығы</a:t>
            </a:r>
            <a:endParaRPr kumimoji="1"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38480" lvl="0" indent="-2730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ҚС </a:t>
            </a:r>
            <a:r>
              <a:rPr kumimoji="1"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стағы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ді</a:t>
            </a: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у</a:t>
            </a: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823595" lvl="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tabLst>
                <a:tab pos="803275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КК,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шартта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823595" lvl="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tabLst>
                <a:tab pos="803275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лік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лдары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ыл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уашылығ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икасы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мыстық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икан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порттау-өткіз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збег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86806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Мұнай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асына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салу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5F409DC-A4F7-4B07-117A-AC4A0E450F95}"/>
              </a:ext>
            </a:extLst>
          </p:cNvPr>
          <p:cNvSpPr txBox="1"/>
          <p:nvPr/>
        </p:nvSpPr>
        <p:spPr>
          <a:xfrm>
            <a:off x="67221" y="1767326"/>
            <a:ext cx="12035123" cy="42371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20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сы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-міндеттемелері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ар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йнауын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ға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лама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ЖБС+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жимі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лдануға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ұқсат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вестициялық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індеттемелер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>
                <a:latin typeface="Arial" pitchFamily="34" charset="0"/>
                <a:cs typeface="Arial" pitchFamily="34" charset="0"/>
              </a:rPr>
              <a:t>(</a:t>
            </a:r>
            <a:r>
              <a:rPr lang="ru-RU" sz="1600" i="1" kern="100" dirty="0" err="1">
                <a:latin typeface="Arial" pitchFamily="34" charset="0"/>
                <a:cs typeface="Arial" pitchFamily="34" charset="0"/>
              </a:rPr>
              <a:t>Жер</a:t>
            </a:r>
            <a:r>
              <a:rPr lang="ru-RU" sz="1600" i="1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latin typeface="Arial" pitchFamily="34" charset="0"/>
                <a:cs typeface="Arial" pitchFamily="34" charset="0"/>
              </a:rPr>
              <a:t>қойнауы</a:t>
            </a:r>
            <a:r>
              <a:rPr lang="ru-RU" sz="1600" i="1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latin typeface="Arial" pitchFamily="34" charset="0"/>
                <a:cs typeface="Arial" pitchFamily="34" charset="0"/>
              </a:rPr>
              <a:t>және</a:t>
            </a:r>
            <a:r>
              <a:rPr lang="ru-RU" sz="1600" i="1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latin typeface="Arial" pitchFamily="34" charset="0"/>
                <a:cs typeface="Arial" pitchFamily="34" charset="0"/>
              </a:rPr>
              <a:t>жер</a:t>
            </a:r>
            <a:r>
              <a:rPr lang="ru-RU" sz="1600" i="1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latin typeface="Arial" pitchFamily="34" charset="0"/>
                <a:cs typeface="Arial" pitchFamily="34" charset="0"/>
              </a:rPr>
              <a:t>қойнауын</a:t>
            </a:r>
            <a:r>
              <a:rPr lang="ru-RU" sz="1600" i="1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latin typeface="Arial" pitchFamily="34" charset="0"/>
                <a:cs typeface="Arial" pitchFamily="34" charset="0"/>
              </a:rPr>
              <a:t>пайдалану</a:t>
            </a:r>
            <a:r>
              <a:rPr lang="ru-RU" sz="1600" i="1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latin typeface="Arial" pitchFamily="34" charset="0"/>
                <a:cs typeface="Arial" pitchFamily="34" charset="0"/>
              </a:rPr>
              <a:t>туралы</a:t>
            </a:r>
            <a:r>
              <a:rPr lang="ru-RU" sz="1600" i="1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latin typeface="Arial" pitchFamily="34" charset="0"/>
                <a:cs typeface="Arial" pitchFamily="34" charset="0"/>
              </a:rPr>
              <a:t>кодекстің</a:t>
            </a:r>
            <a:r>
              <a:rPr lang="ru-RU" sz="1600" i="1" kern="100" dirty="0">
                <a:latin typeface="Arial" pitchFamily="34" charset="0"/>
                <a:cs typeface="Arial" pitchFamily="34" charset="0"/>
              </a:rPr>
              <a:t> 153-1-бабына </a:t>
            </a:r>
            <a:r>
              <a:rPr lang="ru-RU" sz="1600" i="1" kern="100" dirty="0" err="1">
                <a:latin typeface="Arial" pitchFamily="34" charset="0"/>
                <a:cs typeface="Arial" pitchFamily="34" charset="0"/>
              </a:rPr>
              <a:t>сәйкес</a:t>
            </a:r>
            <a:r>
              <a:rPr lang="ru-RU" sz="1600" i="1" kern="100" dirty="0">
                <a:latin typeface="Arial" pitchFamily="34" charset="0"/>
                <a:cs typeface="Arial" pitchFamily="34" charset="0"/>
              </a:rPr>
              <a:t>)</a:t>
            </a:r>
          </a:p>
          <a:p>
            <a:pPr marL="342900" lvl="4" indent="-342900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жер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қойнауын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айдаланушының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 err="1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нвестициялық</a:t>
            </a:r>
            <a:r>
              <a:rPr lang="ru-RU" sz="2000" b="1" kern="0" dirty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 err="1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міндеттемесі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елісімшартқа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енгізілген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езде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ен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рны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 err="1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арқылған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 err="1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деп</a:t>
            </a:r>
            <a:r>
              <a:rPr lang="ru-RU" sz="2000" b="1" kern="0" dirty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 err="1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танылады</a:t>
            </a:r>
            <a:r>
              <a:rPr lang="ru-RU" sz="2000" b="1" kern="0" dirty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i="1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(</a:t>
            </a:r>
            <a:r>
              <a:rPr lang="ru-RU" i="1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өңдеу</a:t>
            </a:r>
            <a:r>
              <a:rPr lang="ru-RU" i="1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және</a:t>
            </a:r>
            <a:r>
              <a:rPr lang="ru-RU" i="1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уландыру</a:t>
            </a:r>
            <a:r>
              <a:rPr lang="ru-RU" i="1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жөніндегі</a:t>
            </a:r>
            <a:r>
              <a:rPr lang="ru-RU" i="1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шарттарға</a:t>
            </a:r>
            <a:r>
              <a:rPr lang="ru-RU" i="1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қосымша</a:t>
            </a:r>
            <a:r>
              <a:rPr lang="ru-RU" i="1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)</a:t>
            </a:r>
          </a:p>
          <a:p>
            <a:pPr marL="342900" lvl="4" indent="-342900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мұндай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ен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рнын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геруге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және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(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емесе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)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өңірдің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 err="1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әлеуметтік-экономикалық</a:t>
            </a:r>
            <a:r>
              <a:rPr lang="ru-RU" sz="2000" b="1" kern="0" dirty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 err="1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дамуын</a:t>
            </a:r>
            <a:r>
              <a:rPr lang="ru-RU" sz="2000" b="1" kern="0" dirty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 err="1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қосымша</a:t>
            </a:r>
            <a:r>
              <a:rPr lang="ru-RU" sz="2000" b="1" kern="0" dirty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 err="1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қаржыландыруға</a:t>
            </a:r>
            <a:r>
              <a:rPr lang="ru-RU" sz="2000" b="1" kern="0" dirty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 err="1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қосымша</a:t>
            </a:r>
            <a:r>
              <a:rPr lang="ru-RU" sz="2000" b="1" kern="0" dirty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 err="1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нвестициялар</a:t>
            </a:r>
            <a:r>
              <a:rPr lang="ru-RU" sz="2000" b="1" kern="0" dirty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нвестициялық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міндеттеме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болып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табылады</a:t>
            </a:r>
            <a:endParaRPr lang="ru-RU" sz="2000" kern="0" dirty="0">
              <a:solidFill>
                <a:prstClr val="black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  <a:p>
            <a:pPr marL="342900" lvl="4" indent="-342900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арқылып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жатқан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ен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рны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бойынша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 err="1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нвестициялау</a:t>
            </a:r>
            <a:r>
              <a:rPr lang="ru-RU" sz="2000" b="1" kern="0" dirty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b="1" kern="0" dirty="0" err="1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оэффициенті</a:t>
            </a:r>
            <a:r>
              <a:rPr lang="ru-RU" sz="2000" b="1" kern="0" dirty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өндірудің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ақты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жылдық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өлеміне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i="1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(ЖЖТ%)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үйене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тырып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белгіленеді</a:t>
            </a:r>
            <a:endParaRPr lang="ru-RU" sz="2000" kern="0" dirty="0">
              <a:solidFill>
                <a:prstClr val="black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DA8607F4-5519-96B0-2389-5F5816BFD067}"/>
              </a:ext>
            </a:extLst>
          </p:cNvPr>
          <p:cNvSpPr/>
          <p:nvPr/>
        </p:nvSpPr>
        <p:spPr>
          <a:xfrm>
            <a:off x="67221" y="1140661"/>
            <a:ext cx="12035123" cy="539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рқылып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тқан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етілген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н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ындарын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геруді</a:t>
            </a: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ынталандыру</a:t>
            </a:r>
            <a:endParaRPr lang="ru-RU" sz="20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1138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Тау-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ке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асына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салу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04646" y="1117300"/>
            <a:ext cx="11982708" cy="35238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lvl="0" algn="ctr">
              <a:defRPr/>
            </a:pP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ологиялық</a:t>
            </a: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лау</a:t>
            </a: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тарын</a:t>
            </a: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ынталандыру</a:t>
            </a: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27866" y="3964517"/>
            <a:ext cx="11680104" cy="36535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гендік</a:t>
            </a: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ералды</a:t>
            </a: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зілімдерді</a:t>
            </a: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зірлеуді</a:t>
            </a: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ынталандыру</a:t>
            </a:r>
            <a:endParaRPr lang="ru-RU" b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04646" y="1500792"/>
            <a:ext cx="11982708" cy="21613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44145" lvl="4" indent="-144145" algn="just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ты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лау</a:t>
            </a:r>
            <a:endParaRPr lang="ru-RU" sz="16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145" lvl="4" indent="-144145" algn="just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шарттарға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нге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леге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келерге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маста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БЖ-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ың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лық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стары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ге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қызу</a:t>
            </a:r>
            <a:endParaRPr lang="ru-RU" sz="16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145" lvl="4" indent="-144145" algn="just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стағы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у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шарттары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ПҚ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БЖ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стары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ге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қызу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44145" lvl="4" indent="-144145" algn="just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әтсіз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лау</a:t>
            </a:r>
            <a:endParaRPr lang="ru-RU" sz="16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145" lvl="4" indent="-144145" algn="just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шартта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ЖТ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теу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БЖ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стары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ге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қызу</a:t>
            </a:r>
            <a:endParaRPr lang="ru-RU" sz="16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145" lvl="4" indent="-144145" algn="just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стағы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у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шарттары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ПҚ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БЖ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стары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ге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қызу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104646" y="4541190"/>
            <a:ext cx="1198270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4" algn="just"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ТМТ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құрамынан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пайдал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қазбалард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өндіру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ҚӨС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сіне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0,1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дету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эффициенті</a:t>
            </a: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57689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Сектор">
  <a:themeElements>
    <a:clrScheme name="Сектор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Сектор">
      <a:maj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ектор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1842</TotalTime>
  <Words>1813</Words>
  <Application>Microsoft Office PowerPoint</Application>
  <PresentationFormat>Широкоэкранный</PresentationFormat>
  <Paragraphs>299</Paragraphs>
  <Slides>14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6" baseType="lpstr">
      <vt:lpstr>Arial</vt:lpstr>
      <vt:lpstr>Arial Narrow</vt:lpstr>
      <vt:lpstr>Bookman Old Style</vt:lpstr>
      <vt:lpstr>Calibri</vt:lpstr>
      <vt:lpstr>Calibri Light</vt:lpstr>
      <vt:lpstr>Century Gothic</vt:lpstr>
      <vt:lpstr>Tahoma</vt:lpstr>
      <vt:lpstr>Wingdings</vt:lpstr>
      <vt:lpstr>Wingdings 3</vt:lpstr>
      <vt:lpstr>1_Тема Office</vt:lpstr>
      <vt:lpstr>Сектор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арина Лазарева</dc:creator>
  <cp:lastModifiedBy>Абильжанова Арухан</cp:lastModifiedBy>
  <cp:revision>171</cp:revision>
  <cp:lastPrinted>2024-07-13T05:36:35Z</cp:lastPrinted>
  <dcterms:created xsi:type="dcterms:W3CDTF">2024-05-17T10:30:13Z</dcterms:created>
  <dcterms:modified xsi:type="dcterms:W3CDTF">2024-09-17T04:45:34Z</dcterms:modified>
</cp:coreProperties>
</file>